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57" r:id="rId3"/>
    <p:sldId id="258" r:id="rId4"/>
  </p:sldIdLst>
  <p:sldSz cx="12192000" cy="6858000"/>
  <p:notesSz cx="6858000" cy="9144000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81" autoAdjust="0"/>
    <p:restoredTop sz="96959" autoAdjust="0"/>
  </p:normalViewPr>
  <p:slideViewPr>
    <p:cSldViewPr snapToGrid="0" showGuides="1">
      <p:cViewPr varScale="1">
        <p:scale>
          <a:sx n="146" d="100"/>
          <a:sy n="146" d="100"/>
        </p:scale>
        <p:origin x="168" y="400"/>
      </p:cViewPr>
      <p:guideLst>
        <p:guide orient="horz" pos="21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65630338230271E-2"/>
          <c:y val="2.6652998462327011E-2"/>
          <c:w val="0.96446873932353949"/>
          <c:h val="0.81957967359031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B$1:$B$15</c:f>
              <c:numCache>
                <c:formatCode>General</c:formatCode>
                <c:ptCount val="15"/>
                <c:pt idx="0">
                  <c:v>1.5</c:v>
                </c:pt>
                <c:pt idx="1">
                  <c:v>2.6</c:v>
                </c:pt>
                <c:pt idx="2">
                  <c:v>2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566-49A7-B706-F012C7D0871B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 w="9525" algn="ctr">
                <a:solidFill>
                  <a:schemeClr val="tx1"/>
                </a:solidFill>
                <a:prstDash val="solid"/>
              </a:ln>
            </c:spPr>
          </c:marker>
          <c:dPt>
            <c:idx val="4"/>
            <c:marker>
              <c:spPr>
                <a:noFill/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566-49A7-B706-F012C7D0871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566-49A7-B706-F012C7D0871B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566-49A7-B706-F012C7D0871B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566-49A7-B706-F012C7D0871B}"/>
              </c:ext>
            </c:extLst>
          </c:dPt>
          <c:xVal>
            <c:numRef>
              <c:f>Sheet1!$A$1:$A$15</c:f>
              <c:numCache>
                <c:formatCode>General</c:formatCode>
                <c:ptCount val="15"/>
                <c:pt idx="0">
                  <c:v>1.5</c:v>
                </c:pt>
                <c:pt idx="1">
                  <c:v>1.8</c:v>
                </c:pt>
                <c:pt idx="2">
                  <c:v>2.6</c:v>
                </c:pt>
                <c:pt idx="3">
                  <c:v>2.2000000000000002</c:v>
                </c:pt>
                <c:pt idx="4">
                  <c:v>2</c:v>
                </c:pt>
                <c:pt idx="5">
                  <c:v>0.5</c:v>
                </c:pt>
                <c:pt idx="6">
                  <c:v>1</c:v>
                </c:pt>
                <c:pt idx="7">
                  <c:v>2.5</c:v>
                </c:pt>
                <c:pt idx="8">
                  <c:v>0.8</c:v>
                </c:pt>
                <c:pt idx="9">
                  <c:v>1.4</c:v>
                </c:pt>
                <c:pt idx="10">
                  <c:v>1.8</c:v>
                </c:pt>
                <c:pt idx="11">
                  <c:v>1.2</c:v>
                </c:pt>
                <c:pt idx="12">
                  <c:v>2</c:v>
                </c:pt>
                <c:pt idx="13">
                  <c:v>2.2999999999999998</c:v>
                </c:pt>
                <c:pt idx="14">
                  <c:v>2.4</c:v>
                </c:pt>
              </c:numCache>
            </c:numRef>
          </c:xVal>
          <c:yVal>
            <c:numRef>
              <c:f>Sheet1!$C$1:$C$15</c:f>
              <c:numCache>
                <c:formatCode>General</c:formatCode>
                <c:ptCount val="15"/>
                <c:pt idx="3">
                  <c:v>2.8</c:v>
                </c:pt>
                <c:pt idx="4">
                  <c:v>4</c:v>
                </c:pt>
                <c:pt idx="5">
                  <c:v>1.1000000000000001</c:v>
                </c:pt>
                <c:pt idx="6">
                  <c:v>2.4</c:v>
                </c:pt>
                <c:pt idx="7">
                  <c:v>2.23</c:v>
                </c:pt>
                <c:pt idx="8">
                  <c:v>2</c:v>
                </c:pt>
                <c:pt idx="9">
                  <c:v>2.6</c:v>
                </c:pt>
                <c:pt idx="10">
                  <c:v>1.4</c:v>
                </c:pt>
                <c:pt idx="11">
                  <c:v>1.4</c:v>
                </c:pt>
                <c:pt idx="12">
                  <c:v>2</c:v>
                </c:pt>
                <c:pt idx="13">
                  <c:v>2</c:v>
                </c:pt>
                <c:pt idx="14">
                  <c:v>1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566-49A7-B706-F012C7D08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799968"/>
        <c:axId val="1"/>
      </c:scatterChart>
      <c:valAx>
        <c:axId val="2058799968"/>
        <c:scaling>
          <c:orientation val="minMax"/>
          <c:max val="3.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1"/>
        <c:crosses val="min"/>
        <c:crossBetween val="midCat"/>
        <c:majorUnit val="0.5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i="1"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ru-RU"/>
          </a:p>
        </c:txPr>
        <c:crossAx val="2058799968"/>
        <c:crosses val="min"/>
        <c:crossBetween val="midCat"/>
        <c:majorUnit val="0.5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2035E-AB5E-4656-B48A-7DB4258DCBF2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22223-16F0-4E28-924F-60A9868DE4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470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422223-16F0-4E28-924F-60A9868DE4B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022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07EC3E-B547-4F98-95DE-4B08BEE158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9A9490-5FC4-47B8-B063-606CC9350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90B214D-B589-4939-A5E8-03C19398A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3DA09E-C7FD-4C05-80BC-23EE83E3B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6ADFEA-0270-4508-B013-B2C447A6C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77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19945E-DA8A-45D2-91CE-F348ECAC5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E01BC0A-8219-49C5-A60A-ADA67A1268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8A5365-A04B-449F-8AE0-513A4DFFB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F4DCDA-1B5A-4A0E-8F56-F47702CAF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E4C4DC0-0ECF-4093-AE50-A9FBFB945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299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BA29FE55-FF77-4B08-8A4E-294D1E3658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7ACB9FA-EF24-400A-84B2-6DF03D683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8032CB-25FE-4732-9B4D-6A0176E79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5AF118E-5F65-4447-84C8-91E83FCB8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BC5F8F-E7C0-4285-BD6E-CD8584E5D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19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428CDD-BAA7-4AB7-987E-EAAF34E7C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1D401AE-9920-4118-B9E9-1CA16336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D46AFB-39FC-4030-A923-F96295D83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F6A184-7349-4007-BEF3-65DC70DC2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4BEED5-A006-4478-A65D-7C62F84B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644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86470B-E13F-4876-B92C-E9DC48599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B0EB9A9-B3C2-441C-B35A-886128A166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22C167-12AD-43CA-B8A1-2CB8CBC4C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6EAB98-2C25-41EB-843C-015DDC40C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402DDA7-9C3A-4C9D-BEB4-FF235BA85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274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BD5A79-816C-4665-AA47-155658BC9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07DA47-3366-4B01-BA09-675179186C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EAAADA5-632F-4744-8F9B-D6861005C9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B53ED65-98A8-46B3-B22E-8C0B07F9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BE62CE8-0A12-4167-B597-A0F3EA988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1AFFA7-2FE0-4FBE-AFE7-409CC773A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831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4AAF36-6D25-4145-B564-7DDC60DD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52114-1193-477B-BDBA-C99F09B1B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27C879F-F751-4FED-AED7-49AF3DE52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B3F5028-BC6D-40CA-9F99-20A0F25092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516B65-2795-474F-93F5-BA72E1966E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09C149D-B9C0-4D26-9FAC-15AFC309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A6C3A20-4643-44AD-8742-F1E055F70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0B23016-C337-4A10-A95D-8311B527C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96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946E94-E8C5-4E25-915F-625BAA1D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471BCD7-0A5D-4AE6-96D9-629CCA0A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39BA790-0EEC-4713-BAB9-8AF09B298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584C2D9-8413-4B05-96DD-345459E64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056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CD1B0A-9D2E-4259-A60A-9DC88AF12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CDA9B2F-89D6-4983-91F5-E237D1724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040C85C-A1F2-4C40-9C58-6A2F22EC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54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4EB3F4-2D0B-416E-8603-34F89810C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FCCE2A-CA73-442D-BD91-48C232AEA5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9A84796-32C6-4A82-9ECD-8A398984C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65F50E0-7F5A-4C45-8C8F-4C6E52AD2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DC1465-E829-4716-ABF4-48CC985FB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9C8AAF-42E0-458B-82FA-8DB2B0297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415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4221C6-5800-4AC9-97AF-801E1BD24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8C3D792-C5CE-465E-8188-E03E747F6F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E93674-C8FD-40BC-9EEE-792AE2751D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E82DFA-891A-49DD-9358-41807CA87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F487E4-3DF1-49F8-853F-683E18577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38D3500-3D1C-4C27-BFFA-1C550E117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82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A01C330-F85F-4DF7-B8ED-6AE178253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2662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D4284C2-7E50-49F7-9216-413FF957F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42A4B-44A4-466B-8284-89D142905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2D1981E-E9B2-46DF-AA0E-3D2E6AFE6E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09524-591A-4F33-AD32-76F191976FF0}" type="datetimeFigureOut">
              <a:rPr lang="ru-RU" smtClean="0"/>
              <a:t>10.05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1485B2-F567-4BB8-9B20-3771D96C73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60929C-AB59-46DF-9AB4-A8C3B00C7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0E9AF3-25D2-40AA-826F-A4D558AE98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9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1.xml"/><Relationship Id="rId18" Type="http://schemas.openxmlformats.org/officeDocument/2006/relationships/chart" Target="../charts/chart1.xml"/><Relationship Id="rId3" Type="http://schemas.openxmlformats.org/officeDocument/2006/relationships/tags" Target="../tags/tag5.xml"/><Relationship Id="rId21" Type="http://schemas.openxmlformats.org/officeDocument/2006/relationships/image" Target="../media/image5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2.png"/><Relationship Id="rId10" Type="http://schemas.openxmlformats.org/officeDocument/2006/relationships/tags" Target="../tags/tag12.xml"/><Relationship Id="rId19" Type="http://schemas.openxmlformats.org/officeDocument/2006/relationships/image" Target="../media/image3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" name="Рисунок 415">
            <a:extLst>
              <a:ext uri="{FF2B5EF4-FFF2-40B4-BE49-F238E27FC236}">
                <a16:creationId xmlns:a16="http://schemas.microsoft.com/office/drawing/2014/main" id="{924714BA-FCAD-465D-9DF4-31A608AB8AB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62" r="76650"/>
          <a:stretch/>
        </p:blipFill>
        <p:spPr>
          <a:xfrm>
            <a:off x="1348677" y="1667690"/>
            <a:ext cx="401834" cy="682685"/>
          </a:xfrm>
          <a:prstGeom prst="rect">
            <a:avLst/>
          </a:prstGeom>
        </p:spPr>
      </p:pic>
      <p:sp>
        <p:nvSpPr>
          <p:cNvPr id="41" name="Овал 40">
            <a:extLst>
              <a:ext uri="{FF2B5EF4-FFF2-40B4-BE49-F238E27FC236}">
                <a16:creationId xmlns:a16="http://schemas.microsoft.com/office/drawing/2014/main" id="{2AC32DFA-849F-A34C-9724-6E5DF6A6CD20}"/>
              </a:ext>
            </a:extLst>
          </p:cNvPr>
          <p:cNvSpPr>
            <a:spLocks noChangeAspect="1"/>
          </p:cNvSpPr>
          <p:nvPr/>
        </p:nvSpPr>
        <p:spPr>
          <a:xfrm>
            <a:off x="1350994" y="1849627"/>
            <a:ext cx="355808" cy="339180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1" name="Рисунок 560">
            <a:extLst>
              <a:ext uri="{FF2B5EF4-FFF2-40B4-BE49-F238E27FC236}">
                <a16:creationId xmlns:a16="http://schemas.microsoft.com/office/drawing/2014/main" id="{6E9A9089-AB69-4038-8D64-7580231D751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" t="24117" r="90888" b="28194"/>
          <a:stretch/>
        </p:blipFill>
        <p:spPr>
          <a:xfrm>
            <a:off x="4765085" y="3468544"/>
            <a:ext cx="386693" cy="339039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9862A24C-9173-D340-BB19-4EBCC8786541}"/>
              </a:ext>
            </a:extLst>
          </p:cNvPr>
          <p:cNvSpPr>
            <a:spLocks noChangeAspect="1"/>
          </p:cNvSpPr>
          <p:nvPr/>
        </p:nvSpPr>
        <p:spPr>
          <a:xfrm>
            <a:off x="4778771" y="3495402"/>
            <a:ext cx="337366" cy="324509"/>
          </a:xfrm>
          <a:prstGeom prst="ellipse">
            <a:avLst/>
          </a:prstGeom>
          <a:solidFill>
            <a:schemeClr val="accent1">
              <a:alpha val="0"/>
            </a:scheme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105F1403-6C27-407B-868D-06F42DC8D4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600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Слайд think-cell" r:id="rId16" imgW="416" imgH="416" progId="TCLayout.ActiveDocument.1">
                  <p:embed/>
                </p:oleObj>
              </mc:Choice>
              <mc:Fallback>
                <p:oleObj name="Слайд think-cell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5347C97-1F8C-434B-9172-CAC5C3D05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555" name="Chart 3">
            <a:extLst>
              <a:ext uri="{FF2B5EF4-FFF2-40B4-BE49-F238E27FC236}">
                <a16:creationId xmlns:a16="http://schemas.microsoft.com/office/drawing/2014/main" id="{D3738DC2-E825-4DF4-945F-19B10D7692D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87366881"/>
              </p:ext>
            </p:extLst>
          </p:nvPr>
        </p:nvGraphicFramePr>
        <p:xfrm>
          <a:off x="1674020" y="804864"/>
          <a:ext cx="4646613" cy="3097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20" name="Текст 2">
            <a:extLst>
              <a:ext uri="{FF2B5EF4-FFF2-40B4-BE49-F238E27FC236}">
                <a16:creationId xmlns:a16="http://schemas.microsoft.com/office/drawing/2014/main" id="{199E7EAC-FB52-4138-BFB4-6DFD83575C1A}"/>
              </a:ext>
            </a:extLst>
          </p:cNvPr>
          <p:cNvSpPr>
            <a:spLocks noGrp="1" noChangeAspect="1"/>
          </p:cNvSpPr>
          <p:nvPr>
            <p:custDataLst>
              <p:tags r:id="rId5"/>
            </p:custDataLst>
          </p:nvPr>
        </p:nvSpPr>
        <p:spPr bwMode="gray">
          <a:xfrm>
            <a:off x="1358108" y="1897064"/>
            <a:ext cx="222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cxnSp>
        <p:nvCxnSpPr>
          <p:cNvPr id="455" name="Прямая соединительная линия 454">
            <a:extLst>
              <a:ext uri="{FF2B5EF4-FFF2-40B4-BE49-F238E27FC236}">
                <a16:creationId xmlns:a16="http://schemas.microsoft.com/office/drawing/2014/main" id="{23C2B445-4417-4EF3-8A58-D6777E5AA53C}"/>
              </a:ext>
            </a:extLst>
          </p:cNvPr>
          <p:cNvCxnSpPr>
            <a:cxnSpLocks noChangeAspect="1"/>
          </p:cNvCxnSpPr>
          <p:nvPr>
            <p:custDataLst>
              <p:tags r:id="rId6"/>
            </p:custDataLst>
          </p:nvPr>
        </p:nvCxnSpPr>
        <p:spPr bwMode="auto">
          <a:xfrm flipV="1">
            <a:off x="4947454" y="2008462"/>
            <a:ext cx="0" cy="14205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Прямая соединительная линия 370">
            <a:extLst>
              <a:ext uri="{FF2B5EF4-FFF2-40B4-BE49-F238E27FC236}">
                <a16:creationId xmlns:a16="http://schemas.microsoft.com/office/drawing/2014/main" id="{730859AD-0B61-4F02-A3D9-C0996BD02A3B}"/>
              </a:ext>
            </a:extLst>
          </p:cNvPr>
          <p:cNvCxnSpPr>
            <a:cxnSpLocks noChangeAspect="1"/>
          </p:cNvCxnSpPr>
          <p:nvPr>
            <p:custDataLst>
              <p:tags r:id="rId7"/>
            </p:custDataLst>
          </p:nvPr>
        </p:nvCxnSpPr>
        <p:spPr bwMode="auto">
          <a:xfrm flipH="1">
            <a:off x="1756570" y="2719389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Прямая соединительная линия 378">
            <a:extLst>
              <a:ext uri="{FF2B5EF4-FFF2-40B4-BE49-F238E27FC236}">
                <a16:creationId xmlns:a16="http://schemas.microsoft.com/office/drawing/2014/main" id="{13146868-35F3-4C12-8C1D-79B1E5A960DA}"/>
              </a:ext>
            </a:extLst>
          </p:cNvPr>
          <p:cNvCxnSpPr>
            <a:cxnSpLocks noChangeAspect="1"/>
          </p:cNvCxnSpPr>
          <p:nvPr>
            <p:custDataLst>
              <p:tags r:id="rId8"/>
            </p:custDataLst>
          </p:nvPr>
        </p:nvCxnSpPr>
        <p:spPr bwMode="auto">
          <a:xfrm flipH="1">
            <a:off x="1756570" y="2976564"/>
            <a:ext cx="639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>
            <a:extLst>
              <a:ext uri="{FF2B5EF4-FFF2-40B4-BE49-F238E27FC236}">
                <a16:creationId xmlns:a16="http://schemas.microsoft.com/office/drawing/2014/main" id="{BB9E5FE8-4CD4-480F-BDC2-71DECD7BD388}"/>
              </a:ext>
            </a:extLst>
          </p:cNvPr>
          <p:cNvCxnSpPr>
            <a:cxnSpLocks noChangeAspect="1"/>
          </p:cNvCxnSpPr>
          <p:nvPr>
            <p:custDataLst>
              <p:tags r:id="rId9"/>
            </p:custDataLst>
          </p:nvPr>
        </p:nvCxnSpPr>
        <p:spPr bwMode="auto">
          <a:xfrm>
            <a:off x="2396333" y="2755901"/>
            <a:ext cx="0" cy="67309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4" name="Рисунок 413">
            <a:extLst>
              <a:ext uri="{FF2B5EF4-FFF2-40B4-BE49-F238E27FC236}">
                <a16:creationId xmlns:a16="http://schemas.microsoft.com/office/drawing/2014/main" id="{0F52B747-550B-43C6-851E-4828BCE0D758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4" t="30577" r="65689" b="31243"/>
          <a:stretch/>
        </p:blipFill>
        <p:spPr>
          <a:xfrm>
            <a:off x="2296530" y="3447572"/>
            <a:ext cx="258489" cy="266015"/>
          </a:xfrm>
          <a:prstGeom prst="rect">
            <a:avLst/>
          </a:prstGeom>
        </p:spPr>
      </p:pic>
      <p:pic>
        <p:nvPicPr>
          <p:cNvPr id="415" name="Рисунок 414">
            <a:extLst>
              <a:ext uri="{FF2B5EF4-FFF2-40B4-BE49-F238E27FC236}">
                <a16:creationId xmlns:a16="http://schemas.microsoft.com/office/drawing/2014/main" id="{AE2C7CEC-F224-49D5-8F21-18BB79F645C1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94" t="18053" r="52841" b="17136"/>
          <a:stretch/>
        </p:blipFill>
        <p:spPr>
          <a:xfrm>
            <a:off x="1301829" y="2459759"/>
            <a:ext cx="368101" cy="475061"/>
          </a:xfrm>
          <a:prstGeom prst="rect">
            <a:avLst/>
          </a:prstGeom>
        </p:spPr>
      </p:pic>
      <p:pic>
        <p:nvPicPr>
          <p:cNvPr id="417" name="Рисунок 416">
            <a:extLst>
              <a:ext uri="{FF2B5EF4-FFF2-40B4-BE49-F238E27FC236}">
                <a16:creationId xmlns:a16="http://schemas.microsoft.com/office/drawing/2014/main" id="{454AC4EA-49EB-4276-B497-29E92788A1B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7" r="16504" b="37974"/>
          <a:stretch/>
        </p:blipFill>
        <p:spPr>
          <a:xfrm>
            <a:off x="1304968" y="595800"/>
            <a:ext cx="401834" cy="512215"/>
          </a:xfrm>
          <a:prstGeom prst="rect">
            <a:avLst/>
          </a:prstGeom>
        </p:spPr>
      </p:pic>
      <p:sp>
        <p:nvSpPr>
          <p:cNvPr id="557" name="Прямоугольник 556">
            <a:extLst>
              <a:ext uri="{FF2B5EF4-FFF2-40B4-BE49-F238E27FC236}">
                <a16:creationId xmlns:a16="http://schemas.microsoft.com/office/drawing/2014/main" id="{DD131AC9-975D-4F70-ABD3-EC8D48F29A4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1927491" y="1030091"/>
            <a:ext cx="75486" cy="75486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9" name="Овал 558">
            <a:extLst>
              <a:ext uri="{FF2B5EF4-FFF2-40B4-BE49-F238E27FC236}">
                <a16:creationId xmlns:a16="http://schemas.microsoft.com/office/drawing/2014/main" id="{0E3D06B0-370F-4C8D-A570-A3954B6AF20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921769" y="1387756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62" name="Рисунок 561">
            <a:extLst>
              <a:ext uri="{FF2B5EF4-FFF2-40B4-BE49-F238E27FC236}">
                <a16:creationId xmlns:a16="http://schemas.microsoft.com/office/drawing/2014/main" id="{EC523CF0-CF44-4DB9-95DC-2FD7A6B94AAD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53" t="24229" b="34199"/>
          <a:stretch/>
        </p:blipFill>
        <p:spPr>
          <a:xfrm>
            <a:off x="5964463" y="3496416"/>
            <a:ext cx="513875" cy="371493"/>
          </a:xfrm>
          <a:prstGeom prst="rect">
            <a:avLst/>
          </a:prstGeom>
        </p:spPr>
      </p:pic>
      <p:cxnSp>
        <p:nvCxnSpPr>
          <p:cNvPr id="564" name="Прямая соединительная линия 563">
            <a:extLst>
              <a:ext uri="{FF2B5EF4-FFF2-40B4-BE49-F238E27FC236}">
                <a16:creationId xmlns:a16="http://schemas.microsoft.com/office/drawing/2014/main" id="{D0448EC4-C97E-41CA-89AF-4A9DFDC3EE6C}"/>
              </a:ext>
            </a:extLst>
          </p:cNvPr>
          <p:cNvCxnSpPr>
            <a:cxnSpLocks noChangeAspect="1"/>
          </p:cNvCxnSpPr>
          <p:nvPr/>
        </p:nvCxnSpPr>
        <p:spPr>
          <a:xfrm>
            <a:off x="4579931" y="1402742"/>
            <a:ext cx="412345" cy="146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6" name="Прямоугольник 565">
            <a:extLst>
              <a:ext uri="{FF2B5EF4-FFF2-40B4-BE49-F238E27FC236}">
                <a16:creationId xmlns:a16="http://schemas.microsoft.com/office/drawing/2014/main" id="{F2A2DBD1-89CB-41EB-AE9E-83BCBFBB0330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5168902" y="2089152"/>
            <a:ext cx="88900" cy="889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5776900-817B-F643-9F03-38B5866DF998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0" t="8863" r="6995" b="6907"/>
          <a:stretch/>
        </p:blipFill>
        <p:spPr>
          <a:xfrm>
            <a:off x="2148048" y="3865929"/>
            <a:ext cx="3843469" cy="489036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28B5BE0-4A3C-8C49-92AF-8C477E0CA65C}"/>
              </a:ext>
            </a:extLst>
          </p:cNvPr>
          <p:cNvCxnSpPr>
            <a:cxnSpLocks noChangeAspect="1"/>
            <a:endCxn id="13" idx="2"/>
          </p:cNvCxnSpPr>
          <p:nvPr/>
        </p:nvCxnSpPr>
        <p:spPr>
          <a:xfrm flipV="1">
            <a:off x="2148047" y="3657657"/>
            <a:ext cx="2630724" cy="19939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8EDC9015-4D1A-B544-93A6-CCB7A79E3D0D}"/>
              </a:ext>
            </a:extLst>
          </p:cNvPr>
          <p:cNvCxnSpPr>
            <a:cxnSpLocks noChangeAspect="1"/>
            <a:endCxn id="13" idx="6"/>
          </p:cNvCxnSpPr>
          <p:nvPr/>
        </p:nvCxnSpPr>
        <p:spPr>
          <a:xfrm flipH="1" flipV="1">
            <a:off x="5116137" y="3657657"/>
            <a:ext cx="875380" cy="19927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365564A-1E83-C347-8081-ACD0C13C8922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6" t="7335" r="4809" b="20931"/>
          <a:stretch/>
        </p:blipFill>
        <p:spPr>
          <a:xfrm rot="16200000" flipV="1">
            <a:off x="-132148" y="1854148"/>
            <a:ext cx="2268215" cy="324332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pic>
        <p:nvPicPr>
          <p:cNvPr id="77" name="Объект 4">
            <a:extLst>
              <a:ext uri="{FF2B5EF4-FFF2-40B4-BE49-F238E27FC236}">
                <a16:creationId xmlns:a16="http://schemas.microsoft.com/office/drawing/2014/main" id="{A8CAE922-2B3A-C74D-AF2D-73EE955191B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49" y="2862224"/>
            <a:ext cx="551368" cy="365722"/>
          </a:xfrm>
          <a:prstGeom prst="rect">
            <a:avLst/>
          </a:prstGeom>
        </p:spPr>
      </p:pic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49F857D8-E3DC-AB42-A239-6463289FF23C}"/>
              </a:ext>
            </a:extLst>
          </p:cNvPr>
          <p:cNvCxnSpPr>
            <a:cxnSpLocks/>
            <a:stCxn id="41" idx="0"/>
          </p:cNvCxnSpPr>
          <p:nvPr/>
        </p:nvCxnSpPr>
        <p:spPr>
          <a:xfrm flipH="1" flipV="1">
            <a:off x="1170603" y="885110"/>
            <a:ext cx="358295" cy="96451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F7F98C64-FFDE-3D42-95E0-B7E7933F64FA}"/>
              </a:ext>
            </a:extLst>
          </p:cNvPr>
          <p:cNvCxnSpPr>
            <a:cxnSpLocks/>
            <a:stCxn id="41" idx="4"/>
          </p:cNvCxnSpPr>
          <p:nvPr/>
        </p:nvCxnSpPr>
        <p:spPr>
          <a:xfrm flipH="1">
            <a:off x="1173621" y="2188807"/>
            <a:ext cx="355277" cy="96451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Объект 4">
            <a:extLst>
              <a:ext uri="{FF2B5EF4-FFF2-40B4-BE49-F238E27FC236}">
                <a16:creationId xmlns:a16="http://schemas.microsoft.com/office/drawing/2014/main" id="{0EEB679F-7F14-B648-85A9-F1E3162198F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/>
          <a:stretch/>
        </p:blipFill>
        <p:spPr>
          <a:xfrm>
            <a:off x="4415007" y="1107865"/>
            <a:ext cx="164924" cy="463086"/>
          </a:xfrm>
          <a:prstGeom prst="rect">
            <a:avLst/>
          </a:prstGeom>
        </p:spPr>
      </p:pic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4D1A9B0C-C5E6-A44E-BC28-FD7B9A8BDDA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232" y="908806"/>
            <a:ext cx="649380" cy="640891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ED92AD8-7AD0-9E44-88C0-E94E020FEF54}"/>
              </a:ext>
            </a:extLst>
          </p:cNvPr>
          <p:cNvCxnSpPr>
            <a:cxnSpLocks/>
          </p:cNvCxnSpPr>
          <p:nvPr/>
        </p:nvCxnSpPr>
        <p:spPr>
          <a:xfrm>
            <a:off x="1805554" y="882206"/>
            <a:ext cx="4515079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64FB097-F535-B849-B967-B9968F91FEDA}"/>
              </a:ext>
            </a:extLst>
          </p:cNvPr>
          <p:cNvCxnSpPr>
            <a:cxnSpLocks/>
          </p:cNvCxnSpPr>
          <p:nvPr/>
        </p:nvCxnSpPr>
        <p:spPr>
          <a:xfrm flipV="1">
            <a:off x="6217920" y="874355"/>
            <a:ext cx="11146" cy="294517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6D0CAD3-FEF8-654D-834A-4D6CC614DD5D}"/>
              </a:ext>
            </a:extLst>
          </p:cNvPr>
          <p:cNvCxnSpPr>
            <a:cxnSpLocks/>
          </p:cNvCxnSpPr>
          <p:nvPr/>
        </p:nvCxnSpPr>
        <p:spPr>
          <a:xfrm flipV="1">
            <a:off x="1756570" y="1991450"/>
            <a:ext cx="3196260" cy="108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57F43F26-ED44-9548-BA84-9354F5DEB42F}"/>
              </a:ext>
            </a:extLst>
          </p:cNvPr>
          <p:cNvCxnSpPr>
            <a:cxnSpLocks/>
          </p:cNvCxnSpPr>
          <p:nvPr/>
        </p:nvCxnSpPr>
        <p:spPr>
          <a:xfrm flipV="1">
            <a:off x="2015128" y="1485901"/>
            <a:ext cx="3354575" cy="16737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795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464C9529-09AC-2446-A46D-38EFC686F870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5728134" y="3756329"/>
            <a:ext cx="838859" cy="0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Объект 4">
            <a:extLst>
              <a:ext uri="{FF2B5EF4-FFF2-40B4-BE49-F238E27FC236}">
                <a16:creationId xmlns:a16="http://schemas.microsoft.com/office/drawing/2014/main" id="{4099D5E3-B0C1-C44C-8E7C-450CE2CCA8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77" b="21930"/>
          <a:stretch/>
        </p:blipFill>
        <p:spPr>
          <a:xfrm>
            <a:off x="6054418" y="3224819"/>
            <a:ext cx="186289" cy="408362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A713AD9-6C1F-0F4D-94D9-DDEE320D849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" t="2839" r="47352" b="2841"/>
          <a:stretch/>
        </p:blipFill>
        <p:spPr>
          <a:xfrm>
            <a:off x="84221" y="2400292"/>
            <a:ext cx="5643913" cy="271207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467F9EA-CC63-4545-8EA0-5BC781C0C4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63" t="7127" r="2944" b="13837"/>
          <a:stretch/>
        </p:blipFill>
        <p:spPr>
          <a:xfrm>
            <a:off x="6566993" y="2480981"/>
            <a:ext cx="5266066" cy="255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03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E605630-D9C3-AA4B-9509-51FF622E5B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575" y="45275"/>
            <a:ext cx="7519388" cy="676744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2457093-F74D-3149-BD77-BECF36365C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460" y="4074013"/>
            <a:ext cx="399447" cy="33553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3D1E155-2950-E947-95CC-F9D89FAA4A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4908247"/>
            <a:ext cx="367314" cy="37173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54DEFA7-E5C6-634A-ACA5-74029AC910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4445241"/>
            <a:ext cx="354649" cy="37174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5D8AD9BF-DA91-8846-96FF-0E0D285289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3515940"/>
            <a:ext cx="386060" cy="404665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D9A2B2AE-191F-4448-BF34-7E40996514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70" y="283924"/>
            <a:ext cx="386060" cy="39071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F7B67BA3-0E7C-4D4C-AA3F-26817EBAC8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1" y="1309419"/>
            <a:ext cx="505824" cy="332107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98A8EB9D-12C9-524A-AFBD-4AF2D47311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634" y="504840"/>
            <a:ext cx="507829" cy="33008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4C50D13-C977-D94E-AE50-6F9BE179D3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899046"/>
            <a:ext cx="510704" cy="330089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1AA2533-A822-F64B-9424-012C462A06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070" y="128588"/>
            <a:ext cx="507829" cy="310672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B59FFB4F-EDCE-9B45-8EEA-E9C1804954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758" y="3448843"/>
            <a:ext cx="545187" cy="352377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1E9FEFC4-816E-4A45-97B3-4B5D17CD6C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927" y="3448843"/>
            <a:ext cx="536697" cy="35237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E968352D-0175-0046-8B6B-132C78451E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758" y="168607"/>
            <a:ext cx="545187" cy="333526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802EE4A1-D741-DD4D-8817-EAF68D5851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949" y="194168"/>
            <a:ext cx="545187" cy="354372"/>
          </a:xfrm>
          <a:prstGeom prst="rect">
            <a:avLst/>
          </a:prstGeom>
        </p:spPr>
      </p:pic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6AECD534-8A52-C543-BFA8-D13BF8893A0C}"/>
              </a:ext>
            </a:extLst>
          </p:cNvPr>
          <p:cNvCxnSpPr>
            <a:cxnSpLocks/>
          </p:cNvCxnSpPr>
          <p:nvPr/>
        </p:nvCxnSpPr>
        <p:spPr>
          <a:xfrm flipV="1">
            <a:off x="5439813" y="2050742"/>
            <a:ext cx="1280583" cy="1750478"/>
          </a:xfrm>
          <a:prstGeom prst="straightConnector1">
            <a:avLst/>
          </a:prstGeom>
          <a:ln w="158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Дуга 67">
            <a:extLst>
              <a:ext uri="{FF2B5EF4-FFF2-40B4-BE49-F238E27FC236}">
                <a16:creationId xmlns:a16="http://schemas.microsoft.com/office/drawing/2014/main" id="{2D8A90A3-4B25-9C4A-BAD7-E1ED2F574460}"/>
              </a:ext>
            </a:extLst>
          </p:cNvPr>
          <p:cNvSpPr/>
          <p:nvPr/>
        </p:nvSpPr>
        <p:spPr>
          <a:xfrm rot="18863629">
            <a:off x="4472081" y="4635975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DAADD39-504F-1549-977D-FDA31410DF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264" y="4816981"/>
            <a:ext cx="369406" cy="45304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5C678A-A93B-B443-9063-578C6E4B63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641" y="4106176"/>
            <a:ext cx="595389" cy="474973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25A5D964-CBE3-BC45-AE5C-3ECC204AF6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8281" y="5292479"/>
            <a:ext cx="369406" cy="45304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1B99A09-E350-1340-8BDD-E36B6267E7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699" y="1748708"/>
            <a:ext cx="595389" cy="47497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6EC635E-26FC-D241-A697-E755168F803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616" y="168607"/>
            <a:ext cx="533003" cy="501277"/>
          </a:xfrm>
          <a:prstGeom prst="rect">
            <a:avLst/>
          </a:prstGeom>
        </p:spPr>
      </p:pic>
      <p:sp>
        <p:nvSpPr>
          <p:cNvPr id="67" name="Дуга 66">
            <a:extLst>
              <a:ext uri="{FF2B5EF4-FFF2-40B4-BE49-F238E27FC236}">
                <a16:creationId xmlns:a16="http://schemas.microsoft.com/office/drawing/2014/main" id="{C4986CE1-8C53-AE4C-9A25-36B4FFE1AC19}"/>
              </a:ext>
            </a:extLst>
          </p:cNvPr>
          <p:cNvSpPr/>
          <p:nvPr/>
        </p:nvSpPr>
        <p:spPr>
          <a:xfrm rot="18863629">
            <a:off x="4332587" y="550168"/>
            <a:ext cx="3023109" cy="3001149"/>
          </a:xfrm>
          <a:prstGeom prst="arc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CD5E09FF-015C-4E46-976D-8A85804F9AC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240" y="2325281"/>
            <a:ext cx="533003" cy="5012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409E358-FC72-AB40-8D1F-6A83562F94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8885" y="3218888"/>
            <a:ext cx="474229" cy="541022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6E67B950-E35D-234F-B190-77E638A9E1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1" y="3133886"/>
            <a:ext cx="474229" cy="54102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3469B5D-109A-B64F-8E98-861064F671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471" y="1821990"/>
            <a:ext cx="370478" cy="503291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30311763-532E-4642-88E9-D797554DD4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231" y="5849869"/>
            <a:ext cx="370478" cy="50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3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dAOrCAoc8UIj.Ch4e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k5o5plQ2u3a6A96kZC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vDHuumTtzBRy29TzSj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qGRaIP_ERPhPqRaRm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hLrYHgxKe9UVdtRR11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.Xb.ef8ofIuR6qiMC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r2uKGYN7nx6D7gtlK7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VhAlLsD.HDz.3gVQH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Sn6kRoJ5haABN6LKd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rvXIAFSovdOkW.hQP3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6</TotalTime>
  <Words>1</Words>
  <Application>Microsoft Macintosh PowerPoint</Application>
  <PresentationFormat>Широкоэкранный</PresentationFormat>
  <Paragraphs>1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Times New Roman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26</cp:revision>
  <dcterms:created xsi:type="dcterms:W3CDTF">2020-12-07T14:15:41Z</dcterms:created>
  <dcterms:modified xsi:type="dcterms:W3CDTF">2021-05-10T07:57:14Z</dcterms:modified>
</cp:coreProperties>
</file>